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2"/>
  </p:notesMasterIdLst>
  <p:handoutMasterIdLst>
    <p:handoutMasterId r:id="rId13"/>
  </p:handoutMasterIdLst>
  <p:sldIdLst>
    <p:sldId id="256" r:id="rId6"/>
    <p:sldId id="258" r:id="rId7"/>
    <p:sldId id="259" r:id="rId8"/>
    <p:sldId id="260" r:id="rId9"/>
    <p:sldId id="261" r:id="rId10"/>
    <p:sldId id="262" r:id="rId11"/>
  </p:sldIdLst>
  <p:sldSz cx="12192000" cy="6858000"/>
  <p:notesSz cx="6794500" cy="9906000"/>
  <p:custDataLst>
    <p:tags r:id="rId14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114" y="29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2/2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67262"/>
            <a:ext cx="543560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6.png"/><Relationship Id="rId7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7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6.svg"/><Relationship Id="rId4" Type="http://schemas.openxmlformats.org/officeDocument/2006/relationships/image" Target="../media/image4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9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339" imgH="343" progId="TCLayout.ActiveDocument.1">
                  <p:embed/>
                </p:oleObj>
              </mc:Choice>
              <mc:Fallback>
                <p:oleObj name="think-cell Slide" r:id="rId5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=""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6D1C207-8E6F-F856-8D0C-4F05D5BBF01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0CB741-250C-1584-1EFC-A54689CC11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70A4445-9C2F-B852-FCB2-C080EBB71D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8D6712D-C227-04CA-E16B-98A2C8944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00F2CA8-0297-22D4-991B-54FECD14FF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9EB75878-E9BE-6CFD-8E63-BA93D64A7F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7D733F8-EFDF-EAA6-34D6-CE214B4522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DEB339-80A6-7BC2-D758-9306A07DD1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0839F-7AF7-4025-2280-C28576AD3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Kjemikalier </a:t>
            </a:r>
            <a:endParaRPr lang="nb-NO" dirty="0"/>
          </a:p>
        </p:txBody>
      </p:sp>
      <p:sp>
        <p:nvSpPr>
          <p:cNvPr id="7" name="TextBox 6"/>
          <p:cNvSpPr txBox="1"/>
          <p:nvPr/>
        </p:nvSpPr>
        <p:spPr>
          <a:xfrm>
            <a:off x="10391735" y="6540145"/>
            <a:ext cx="94128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Pr. 02.01.2023</a:t>
            </a:r>
            <a:endParaRPr lang="nb-NO" dirty="0"/>
          </a:p>
        </p:txBody>
      </p:sp>
      <p:sp>
        <p:nvSpPr>
          <p:cNvPr id="8" name="Rectangle 7"/>
          <p:cNvSpPr/>
          <p:nvPr/>
        </p:nvSpPr>
        <p:spPr>
          <a:xfrm>
            <a:off x="628073" y="1300241"/>
            <a:ext cx="4538057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2000" dirty="0"/>
              <a:t>Gjennomsnittlig alder på </a:t>
            </a:r>
            <a:r>
              <a:rPr lang="nb-NO" sz="2000" dirty="0" smtClean="0"/>
              <a:t>sikkerhetsdatabla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 smtClean="0"/>
              <a:t>Indikator for hvor oppdatert stoffkartoteket 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r>
              <a:rPr lang="nb-NO" sz="2000" dirty="0"/>
              <a:t>Sikkerhetsdatablader i «Forkortet </a:t>
            </a:r>
            <a:r>
              <a:rPr lang="nb-NO" sz="2000" dirty="0" smtClean="0"/>
              <a:t>versjon»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 smtClean="0"/>
              <a:t>Ufullstendig </a:t>
            </a:r>
            <a:r>
              <a:rPr lang="nb-NO" sz="1800" dirty="0"/>
              <a:t>innlagt i </a:t>
            </a:r>
            <a:r>
              <a:rPr lang="nb-NO" sz="1800" dirty="0" smtClean="0"/>
              <a:t>stoffkartotek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 smtClean="0"/>
              <a:t>Ikke nødvendigvis mulig </a:t>
            </a:r>
            <a:r>
              <a:rPr lang="nb-NO" sz="1800" dirty="0"/>
              <a:t>å søke på helsefare, miljøfare, </a:t>
            </a:r>
            <a:r>
              <a:rPr lang="nb-NO" sz="1800" dirty="0" smtClean="0"/>
              <a:t>etc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 smtClean="0"/>
          </a:p>
          <a:p>
            <a:r>
              <a:rPr lang="nb-NO" sz="2000" dirty="0" smtClean="0"/>
              <a:t>Sikkerhetsdatablader </a:t>
            </a:r>
            <a:r>
              <a:rPr lang="nb-NO" sz="2000" dirty="0"/>
              <a:t>som er «</a:t>
            </a:r>
            <a:r>
              <a:rPr lang="nb-NO" sz="2000" dirty="0" smtClean="0"/>
              <a:t>utgått»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 smtClean="0"/>
              <a:t>Leverandøren </a:t>
            </a:r>
            <a:r>
              <a:rPr lang="nb-NO" sz="1800" dirty="0"/>
              <a:t>av databladet har sagt at det er </a:t>
            </a:r>
            <a:r>
              <a:rPr lang="nb-NO" sz="1800" dirty="0" smtClean="0"/>
              <a:t>ugyldig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08531" y="346312"/>
            <a:ext cx="5692342" cy="6205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2673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10836" y="6003636"/>
            <a:ext cx="2299855" cy="854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Utvikling over tid - Gjennomsnittlig alder på datablad (år)</a:t>
            </a:r>
            <a:endParaRPr lang="nb-NO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0062" y="1060433"/>
            <a:ext cx="9763184" cy="5525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3876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HMS-kompetanse</a:t>
            </a:r>
            <a:endParaRPr lang="nb-NO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r>
              <a:rPr lang="nb-NO" dirty="0" smtClean="0"/>
              <a:t>Kursene settes opp som normal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G</a:t>
            </a:r>
            <a:r>
              <a:rPr lang="nb-NO" dirty="0" smtClean="0"/>
              <a:t>od oppslutning på obligatoriske kurs for VO, medlemmer av AMU/LAMU og lede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T</a:t>
            </a:r>
            <a:r>
              <a:rPr lang="nb-NO" dirty="0" smtClean="0"/>
              <a:t>ar igjen noe etterslep etter pandemi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Trolig for lav dekning på noen av laboratoriesikkerhetskursene</a:t>
            </a:r>
          </a:p>
          <a:p>
            <a:pPr marL="0" indent="0"/>
            <a:r>
              <a:rPr lang="nb-NO" dirty="0" smtClean="0"/>
              <a:t>Nytt fokus og nye ku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PLIV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Sikkerhetskurs for førstelinj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err="1" smtClean="0"/>
              <a:t>Trusselhåndtering</a:t>
            </a:r>
            <a:r>
              <a:rPr lang="nb-NO" dirty="0" smtClean="0"/>
              <a:t> for ledere</a:t>
            </a:r>
          </a:p>
          <a:p>
            <a:pPr marL="0" indent="0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571749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vvikssystem</a:t>
            </a:r>
            <a:endParaRPr lang="nb-NO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0" indent="0"/>
            <a:r>
              <a:rPr lang="nb-NO" dirty="0"/>
              <a:t>Statu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Modul i CIM har ikke blitt vedlikeholdt siden 202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Eksisterende system genererer ikke brukbare </a:t>
            </a:r>
            <a:r>
              <a:rPr lang="nb-NO" dirty="0" smtClean="0"/>
              <a:t>rappor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  <a:p>
            <a:pPr marL="0" indent="0"/>
            <a:r>
              <a:rPr lang="nb-NO" dirty="0" smtClean="0"/>
              <a:t>I startfasen for utarbeidelse av plan for nytt system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Medvirkning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Spesifikasjon av behov for løsning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Anskaffelse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Implementering og opplæring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466133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Brannvern</a:t>
            </a:r>
            <a:endParaRPr lang="nb-NO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5551229" cy="4817312"/>
          </a:xfrm>
        </p:spPr>
        <p:txBody>
          <a:bodyPr/>
          <a:lstStyle/>
          <a:p>
            <a:r>
              <a:rPr lang="nb-NO" sz="2000" dirty="0" smtClean="0"/>
              <a:t>Branner/branntillø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Flammebrann i avfallsbeholder i underetasje Vilhelm Bjerknes </a:t>
            </a:r>
            <a:r>
              <a:rPr lang="nb-NO" sz="1800" dirty="0" smtClean="0"/>
              <a:t>hu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Flammebrann i papir på toalett i kjeller Domus </a:t>
            </a:r>
            <a:r>
              <a:rPr lang="nb-NO" sz="1800" dirty="0" err="1" smtClean="0"/>
              <a:t>Juridica</a:t>
            </a:r>
            <a:r>
              <a:rPr lang="nb-NO" sz="1800" dirty="0" smtClean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Ulmebrann i utendørs askebeger med røykspredning til </a:t>
            </a:r>
            <a:r>
              <a:rPr lang="nb-NO" sz="1800" dirty="0" smtClean="0"/>
              <a:t>trappero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/>
              <a:t>Glødebrann i toastjern i </a:t>
            </a:r>
            <a:r>
              <a:rPr lang="nb-NO" sz="1800" dirty="0" smtClean="0"/>
              <a:t>ZEB-bygningen</a:t>
            </a:r>
          </a:p>
          <a:p>
            <a:pPr marL="0" indent="0"/>
            <a:r>
              <a:rPr lang="nb-NO" sz="2000" dirty="0" smtClean="0"/>
              <a:t>Tilsyn</a:t>
            </a:r>
            <a:endParaRPr lang="nb-NO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 smtClean="0"/>
              <a:t>Chateau </a:t>
            </a:r>
            <a:r>
              <a:rPr lang="nb-NO" sz="1800" dirty="0" err="1" smtClean="0"/>
              <a:t>Neuf</a:t>
            </a:r>
            <a:endParaRPr lang="nb-NO" sz="18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800" dirty="0" smtClean="0"/>
              <a:t>RF-kjelleren</a:t>
            </a:r>
            <a:endParaRPr lang="nb-NO" sz="1800" dirty="0"/>
          </a:p>
        </p:txBody>
      </p:sp>
      <p:sp>
        <p:nvSpPr>
          <p:cNvPr id="6" name="Text Placeholder 13"/>
          <p:cNvSpPr txBox="1">
            <a:spLocks/>
          </p:cNvSpPr>
          <p:nvPr/>
        </p:nvSpPr>
        <p:spPr>
          <a:xfrm>
            <a:off x="7679218" y="5870278"/>
            <a:ext cx="3875473" cy="188324"/>
          </a:xfrm>
          <a:prstGeom prst="rect">
            <a:avLst/>
          </a:prstGeom>
        </p:spPr>
        <p:txBody>
          <a:bodyPr/>
          <a:lstStyle>
            <a:lvl1pPr marL="288000" indent="-28800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1400" dirty="0" smtClean="0"/>
              <a:t>Brann i Vilhelm Bjerknes hus  2022. Foto: vekter</a:t>
            </a:r>
            <a:endParaRPr lang="nb-NO" sz="1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9218" y="631373"/>
            <a:ext cx="3875473" cy="4953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3671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9B9CF10-6C6A-444C-B05E-E78C1785A52C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45a9c032-1c21-4297-bc4a-1b0e359a6c15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e5e35b8c-bb2a-40e7-acd7-beed1d1f14b8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582</TotalTime>
  <Words>189</Words>
  <Application>Microsoft Office PowerPoint</Application>
  <PresentationFormat>Widescreen</PresentationFormat>
  <Paragraphs>41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Arial, sans-serif</vt:lpstr>
      <vt:lpstr>Calibri</vt:lpstr>
      <vt:lpstr>Wingdings</vt:lpstr>
      <vt:lpstr>Office Theme</vt:lpstr>
      <vt:lpstr>think-cell Slide</vt:lpstr>
      <vt:lpstr>PowerPoint Presentation</vt:lpstr>
      <vt:lpstr>Kjemikalier </vt:lpstr>
      <vt:lpstr>Utvikling over tid - Gjennomsnittlig alder på datablad (år)</vt:lpstr>
      <vt:lpstr>HMS-kompetanse</vt:lpstr>
      <vt:lpstr>Avvikssystem</vt:lpstr>
      <vt:lpstr>Brannvern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lin Agathe Hult</dc:creator>
  <cp:lastModifiedBy>Elin Agathe Hult</cp:lastModifiedBy>
  <cp:revision>12</cp:revision>
  <cp:lastPrinted>2023-02-23T11:34:01Z</cp:lastPrinted>
  <dcterms:created xsi:type="dcterms:W3CDTF">2023-02-22T09:08:21Z</dcterms:created>
  <dcterms:modified xsi:type="dcterms:W3CDTF">2023-02-23T13:3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